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22"/>
  </p:notesMasterIdLst>
  <p:handoutMasterIdLst>
    <p:handoutMasterId r:id="rId23"/>
  </p:handoutMasterIdLst>
  <p:sldIdLst>
    <p:sldId id="260" r:id="rId5"/>
    <p:sldId id="268" r:id="rId6"/>
    <p:sldId id="269" r:id="rId7"/>
    <p:sldId id="272" r:id="rId8"/>
    <p:sldId id="270" r:id="rId9"/>
    <p:sldId id="271" r:id="rId10"/>
    <p:sldId id="273" r:id="rId11"/>
    <p:sldId id="274" r:id="rId12"/>
    <p:sldId id="275" r:id="rId13"/>
    <p:sldId id="276" r:id="rId14"/>
    <p:sldId id="266" r:id="rId15"/>
    <p:sldId id="261" r:id="rId16"/>
    <p:sldId id="262" r:id="rId17"/>
    <p:sldId id="263" r:id="rId18"/>
    <p:sldId id="264" r:id="rId19"/>
    <p:sldId id="265" r:id="rId20"/>
    <p:sldId id="267" r:id="rId21"/>
  </p:sldIdLst>
  <p:sldSz cx="11522075" cy="6480175"/>
  <p:notesSz cx="6858000" cy="9144000"/>
  <p:custDataLst>
    <p:tags r:id="rId24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582107-875F-4F57-ACA2-E8E508F7B320}" v="45" dt="2020-11-25T14:26:18.0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3" autoAdjust="0"/>
    <p:restoredTop sz="94579" autoAdjust="0"/>
  </p:normalViewPr>
  <p:slideViewPr>
    <p:cSldViewPr snapToGrid="0" snapToObjects="1">
      <p:cViewPr varScale="1">
        <p:scale>
          <a:sx n="122" d="100"/>
          <a:sy n="122" d="100"/>
        </p:scale>
        <p:origin x="348" y="96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5004" y="102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ppes, Jochen" userId="49f66994-df19-43c2-b0ec-a878b65a9fce" providerId="ADAL" clId="{ED582107-875F-4F57-ACA2-E8E508F7B320}"/>
    <pc:docChg chg="undo custSel addSld delSld modSld sldOrd">
      <pc:chgData name="Kappes, Jochen" userId="49f66994-df19-43c2-b0ec-a878b65a9fce" providerId="ADAL" clId="{ED582107-875F-4F57-ACA2-E8E508F7B320}" dt="2020-11-25T14:26:48.014" v="454" actId="20577"/>
      <pc:docMkLst>
        <pc:docMk/>
      </pc:docMkLst>
      <pc:sldChg chg="del">
        <pc:chgData name="Kappes, Jochen" userId="49f66994-df19-43c2-b0ec-a878b65a9fce" providerId="ADAL" clId="{ED582107-875F-4F57-ACA2-E8E508F7B320}" dt="2020-11-25T14:25:32.909" v="408" actId="2696"/>
        <pc:sldMkLst>
          <pc:docMk/>
          <pc:sldMk cId="413140242" sldId="259"/>
        </pc:sldMkLst>
      </pc:sldChg>
      <pc:sldChg chg="delSp modSp">
        <pc:chgData name="Kappes, Jochen" userId="49f66994-df19-43c2-b0ec-a878b65a9fce" providerId="ADAL" clId="{ED582107-875F-4F57-ACA2-E8E508F7B320}" dt="2020-11-25T14:25:17.622" v="407" actId="478"/>
        <pc:sldMkLst>
          <pc:docMk/>
          <pc:sldMk cId="2490006263" sldId="260"/>
        </pc:sldMkLst>
        <pc:spChg chg="mod">
          <ac:chgData name="Kappes, Jochen" userId="49f66994-df19-43c2-b0ec-a878b65a9fce" providerId="ADAL" clId="{ED582107-875F-4F57-ACA2-E8E508F7B320}" dt="2020-11-25T14:24:54.862" v="405" actId="20577"/>
          <ac:spMkLst>
            <pc:docMk/>
            <pc:sldMk cId="2490006263" sldId="260"/>
            <ac:spMk id="4" creationId="{00000000-0000-0000-0000-000000000000}"/>
          </ac:spMkLst>
        </pc:spChg>
        <pc:spChg chg="del">
          <ac:chgData name="Kappes, Jochen" userId="49f66994-df19-43c2-b0ec-a878b65a9fce" providerId="ADAL" clId="{ED582107-875F-4F57-ACA2-E8E508F7B320}" dt="2020-11-25T14:25:17.622" v="407" actId="478"/>
          <ac:spMkLst>
            <pc:docMk/>
            <pc:sldMk cId="2490006263" sldId="260"/>
            <ac:spMk id="5" creationId="{FB34D76D-1311-6A44-860D-592628791160}"/>
          </ac:spMkLst>
        </pc:spChg>
        <pc:spChg chg="del">
          <ac:chgData name="Kappes, Jochen" userId="49f66994-df19-43c2-b0ec-a878b65a9fce" providerId="ADAL" clId="{ED582107-875F-4F57-ACA2-E8E508F7B320}" dt="2020-11-25T14:25:16.094" v="406" actId="478"/>
          <ac:spMkLst>
            <pc:docMk/>
            <pc:sldMk cId="2490006263" sldId="260"/>
            <ac:spMk id="7" creationId="{00000000-0000-0000-0000-000000000000}"/>
          </ac:spMkLst>
        </pc:spChg>
      </pc:sldChg>
      <pc:sldChg chg="addSp delSp modSp add">
        <pc:chgData name="Kappes, Jochen" userId="49f66994-df19-43c2-b0ec-a878b65a9fce" providerId="ADAL" clId="{ED582107-875F-4F57-ACA2-E8E508F7B320}" dt="2020-11-25T13:13:26.410" v="9" actId="1076"/>
        <pc:sldMkLst>
          <pc:docMk/>
          <pc:sldMk cId="2795408414" sldId="262"/>
        </pc:sldMkLst>
        <pc:spChg chg="del">
          <ac:chgData name="Kappes, Jochen" userId="49f66994-df19-43c2-b0ec-a878b65a9fce" providerId="ADAL" clId="{ED582107-875F-4F57-ACA2-E8E508F7B320}" dt="2020-11-25T13:12:30.292" v="1" actId="478"/>
          <ac:spMkLst>
            <pc:docMk/>
            <pc:sldMk cId="2795408414" sldId="262"/>
            <ac:spMk id="2" creationId="{92385955-2A8A-4C33-817A-51432B83A6D3}"/>
          </ac:spMkLst>
        </pc:spChg>
        <pc:picChg chg="add del mod">
          <ac:chgData name="Kappes, Jochen" userId="49f66994-df19-43c2-b0ec-a878b65a9fce" providerId="ADAL" clId="{ED582107-875F-4F57-ACA2-E8E508F7B320}" dt="2020-11-25T13:12:50.811" v="6" actId="478"/>
          <ac:picMkLst>
            <pc:docMk/>
            <pc:sldMk cId="2795408414" sldId="262"/>
            <ac:picMk id="4" creationId="{C2978D88-D215-4D37-B86F-AC2F7A1DE752}"/>
          </ac:picMkLst>
        </pc:picChg>
        <pc:picChg chg="add mod">
          <ac:chgData name="Kappes, Jochen" userId="49f66994-df19-43c2-b0ec-a878b65a9fce" providerId="ADAL" clId="{ED582107-875F-4F57-ACA2-E8E508F7B320}" dt="2020-11-25T13:13:26.410" v="9" actId="1076"/>
          <ac:picMkLst>
            <pc:docMk/>
            <pc:sldMk cId="2795408414" sldId="262"/>
            <ac:picMk id="5" creationId="{8DE338C2-8625-4B76-BC26-28B9597CCED7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3:14:38.549" v="15" actId="1076"/>
        <pc:sldMkLst>
          <pc:docMk/>
          <pc:sldMk cId="1913354705" sldId="263"/>
        </pc:sldMkLst>
        <pc:spChg chg="del">
          <ac:chgData name="Kappes, Jochen" userId="49f66994-df19-43c2-b0ec-a878b65a9fce" providerId="ADAL" clId="{ED582107-875F-4F57-ACA2-E8E508F7B320}" dt="2020-11-25T13:14:27.779" v="11" actId="478"/>
          <ac:spMkLst>
            <pc:docMk/>
            <pc:sldMk cId="1913354705" sldId="263"/>
            <ac:spMk id="2" creationId="{ABC062F7-9AFD-4F61-B371-C075856CA610}"/>
          </ac:spMkLst>
        </pc:spChg>
        <pc:picChg chg="add mod">
          <ac:chgData name="Kappes, Jochen" userId="49f66994-df19-43c2-b0ec-a878b65a9fce" providerId="ADAL" clId="{ED582107-875F-4F57-ACA2-E8E508F7B320}" dt="2020-11-25T13:14:38.549" v="15" actId="1076"/>
          <ac:picMkLst>
            <pc:docMk/>
            <pc:sldMk cId="1913354705" sldId="263"/>
            <ac:picMk id="4" creationId="{1863262E-D7C5-4BEF-AB4F-6F24913C280D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00:20.626" v="185" actId="1076"/>
        <pc:sldMkLst>
          <pc:docMk/>
          <pc:sldMk cId="2626105593" sldId="264"/>
        </pc:sldMkLst>
        <pc:spChg chg="del">
          <ac:chgData name="Kappes, Jochen" userId="49f66994-df19-43c2-b0ec-a878b65a9fce" providerId="ADAL" clId="{ED582107-875F-4F57-ACA2-E8E508F7B320}" dt="2020-11-25T13:25:30.842" v="17" actId="478"/>
          <ac:spMkLst>
            <pc:docMk/>
            <pc:sldMk cId="2626105593" sldId="264"/>
            <ac:spMk id="2" creationId="{3AF1A018-D03F-4F95-BC00-98600F7E8641}"/>
          </ac:spMkLst>
        </pc:spChg>
        <pc:picChg chg="add mod">
          <ac:chgData name="Kappes, Jochen" userId="49f66994-df19-43c2-b0ec-a878b65a9fce" providerId="ADAL" clId="{ED582107-875F-4F57-ACA2-E8E508F7B320}" dt="2020-11-25T13:26:47.641" v="26" actId="1076"/>
          <ac:picMkLst>
            <pc:docMk/>
            <pc:sldMk cId="2626105593" sldId="264"/>
            <ac:picMk id="4" creationId="{B8E5BE99-E447-4E9E-80E0-AC46B5915DC4}"/>
          </ac:picMkLst>
        </pc:picChg>
        <pc:picChg chg="add mod">
          <ac:chgData name="Kappes, Jochen" userId="49f66994-df19-43c2-b0ec-a878b65a9fce" providerId="ADAL" clId="{ED582107-875F-4F57-ACA2-E8E508F7B320}" dt="2020-11-25T13:26:43.668" v="25" actId="14100"/>
          <ac:picMkLst>
            <pc:docMk/>
            <pc:sldMk cId="2626105593" sldId="264"/>
            <ac:picMk id="5" creationId="{C5E1087C-4F51-4C56-9606-1616E25571B0}"/>
          </ac:picMkLst>
        </pc:picChg>
        <pc:picChg chg="add mod">
          <ac:chgData name="Kappes, Jochen" userId="49f66994-df19-43c2-b0ec-a878b65a9fce" providerId="ADAL" clId="{ED582107-875F-4F57-ACA2-E8E508F7B320}" dt="2020-11-25T14:00:20.626" v="185" actId="1076"/>
          <ac:picMkLst>
            <pc:docMk/>
            <pc:sldMk cId="2626105593" sldId="264"/>
            <ac:picMk id="6" creationId="{01A684DC-199E-4091-99AE-3ECC04C4ABB0}"/>
          </ac:picMkLst>
        </pc:picChg>
      </pc:sldChg>
      <pc:sldChg chg="addSp delSp modSp add del">
        <pc:chgData name="Kappes, Jochen" userId="49f66994-df19-43c2-b0ec-a878b65a9fce" providerId="ADAL" clId="{ED582107-875F-4F57-ACA2-E8E508F7B320}" dt="2020-11-25T13:28:54.171" v="42" actId="14100"/>
        <pc:sldMkLst>
          <pc:docMk/>
          <pc:sldMk cId="653219079" sldId="265"/>
        </pc:sldMkLst>
        <pc:spChg chg="del">
          <ac:chgData name="Kappes, Jochen" userId="49f66994-df19-43c2-b0ec-a878b65a9fce" providerId="ADAL" clId="{ED582107-875F-4F57-ACA2-E8E508F7B320}" dt="2020-11-25T13:28:45.170" v="38" actId="478"/>
          <ac:spMkLst>
            <pc:docMk/>
            <pc:sldMk cId="653219079" sldId="265"/>
            <ac:spMk id="2" creationId="{20ADA07E-384E-403C-B740-A7467D7907D0}"/>
          </ac:spMkLst>
        </pc:spChg>
        <pc:picChg chg="add mod">
          <ac:chgData name="Kappes, Jochen" userId="49f66994-df19-43c2-b0ec-a878b65a9fce" providerId="ADAL" clId="{ED582107-875F-4F57-ACA2-E8E508F7B320}" dt="2020-11-25T13:28:54.171" v="42" actId="14100"/>
          <ac:picMkLst>
            <pc:docMk/>
            <pc:sldMk cId="653219079" sldId="265"/>
            <ac:picMk id="4" creationId="{51F832AB-EA81-4482-B66A-B3024E666960}"/>
          </ac:picMkLst>
        </pc:picChg>
      </pc:sldChg>
      <pc:sldChg chg="addSp delSp modSp add ord modTransition">
        <pc:chgData name="Kappes, Jochen" userId="49f66994-df19-43c2-b0ec-a878b65a9fce" providerId="ADAL" clId="{ED582107-875F-4F57-ACA2-E8E508F7B320}" dt="2020-11-25T13:44:12.848" v="56"/>
        <pc:sldMkLst>
          <pc:docMk/>
          <pc:sldMk cId="21115076" sldId="266"/>
        </pc:sldMkLst>
        <pc:spChg chg="del">
          <ac:chgData name="Kappes, Jochen" userId="49f66994-df19-43c2-b0ec-a878b65a9fce" providerId="ADAL" clId="{ED582107-875F-4F57-ACA2-E8E508F7B320}" dt="2020-11-25T13:27:19.943" v="29"/>
          <ac:spMkLst>
            <pc:docMk/>
            <pc:sldMk cId="21115076" sldId="266"/>
            <ac:spMk id="2" creationId="{5802D5C7-CFD0-427C-9EE0-B958DBA9AA83}"/>
          </ac:spMkLst>
        </pc:spChg>
        <pc:spChg chg="add mod">
          <ac:chgData name="Kappes, Jochen" userId="49f66994-df19-43c2-b0ec-a878b65a9fce" providerId="ADAL" clId="{ED582107-875F-4F57-ACA2-E8E508F7B320}" dt="2020-11-25T13:27:24.149" v="35" actId="20577"/>
          <ac:spMkLst>
            <pc:docMk/>
            <pc:sldMk cId="21115076" sldId="266"/>
            <ac:spMk id="3" creationId="{F79ECEE0-263E-4670-92A9-2248015D67C3}"/>
          </ac:spMkLst>
        </pc:spChg>
        <pc:picChg chg="add del">
          <ac:chgData name="Kappes, Jochen" userId="49f66994-df19-43c2-b0ec-a878b65a9fce" providerId="ADAL" clId="{ED582107-875F-4F57-ACA2-E8E508F7B320}" dt="2020-11-25T13:43:58.174" v="47" actId="478"/>
          <ac:picMkLst>
            <pc:docMk/>
            <pc:sldMk cId="21115076" sldId="266"/>
            <ac:picMk id="4" creationId="{BB2EC8DB-BAB3-4251-965C-4C0496A6599F}"/>
          </ac:picMkLst>
        </pc:picChg>
      </pc:sldChg>
      <pc:sldChg chg="addSp delSp add">
        <pc:chgData name="Kappes, Jochen" userId="49f66994-df19-43c2-b0ec-a878b65a9fce" providerId="ADAL" clId="{ED582107-875F-4F57-ACA2-E8E508F7B320}" dt="2020-11-25T13:33:24.171" v="45"/>
        <pc:sldMkLst>
          <pc:docMk/>
          <pc:sldMk cId="728737766" sldId="267"/>
        </pc:sldMkLst>
        <pc:spChg chg="del">
          <ac:chgData name="Kappes, Jochen" userId="49f66994-df19-43c2-b0ec-a878b65a9fce" providerId="ADAL" clId="{ED582107-875F-4F57-ACA2-E8E508F7B320}" dt="2020-11-25T13:33:22.838" v="44" actId="478"/>
          <ac:spMkLst>
            <pc:docMk/>
            <pc:sldMk cId="728737766" sldId="267"/>
            <ac:spMk id="2" creationId="{71DAC347-A229-4DEB-9324-C385E48C060B}"/>
          </ac:spMkLst>
        </pc:spChg>
        <pc:picChg chg="add">
          <ac:chgData name="Kappes, Jochen" userId="49f66994-df19-43c2-b0ec-a878b65a9fce" providerId="ADAL" clId="{ED582107-875F-4F57-ACA2-E8E508F7B320}" dt="2020-11-25T13:33:24.171" v="45"/>
          <ac:picMkLst>
            <pc:docMk/>
            <pc:sldMk cId="728737766" sldId="267"/>
            <ac:picMk id="4" creationId="{A878E1FA-34A8-4BD0-B0CE-F5F06B595993}"/>
          </ac:picMkLst>
        </pc:picChg>
      </pc:sldChg>
      <pc:sldChg chg="addSp modSp add">
        <pc:chgData name="Kappes, Jochen" userId="49f66994-df19-43c2-b0ec-a878b65a9fce" providerId="ADAL" clId="{ED582107-875F-4F57-ACA2-E8E508F7B320}" dt="2020-11-25T13:54:47.722" v="181" actId="14100"/>
        <pc:sldMkLst>
          <pc:docMk/>
          <pc:sldMk cId="588624007" sldId="268"/>
        </pc:sldMkLst>
        <pc:spChg chg="mod">
          <ac:chgData name="Kappes, Jochen" userId="49f66994-df19-43c2-b0ec-a878b65a9fce" providerId="ADAL" clId="{ED582107-875F-4F57-ACA2-E8E508F7B320}" dt="2020-11-25T13:44:09.357" v="55" actId="20577"/>
          <ac:spMkLst>
            <pc:docMk/>
            <pc:sldMk cId="588624007" sldId="268"/>
            <ac:spMk id="2" creationId="{711333AB-4638-4B05-9A7C-0B2E19912DE0}"/>
          </ac:spMkLst>
        </pc:spChg>
        <pc:spChg chg="add mod">
          <ac:chgData name="Kappes, Jochen" userId="49f66994-df19-43c2-b0ec-a878b65a9fce" providerId="ADAL" clId="{ED582107-875F-4F57-ACA2-E8E508F7B320}" dt="2020-11-25T13:54:47.722" v="181" actId="14100"/>
          <ac:spMkLst>
            <pc:docMk/>
            <pc:sldMk cId="588624007" sldId="268"/>
            <ac:spMk id="3" creationId="{C23DA459-FA0F-4517-9D2A-1AE97B4241E1}"/>
          </ac:spMkLst>
        </pc:spChg>
      </pc:sldChg>
      <pc:sldChg chg="addSp delSp modSp add">
        <pc:chgData name="Kappes, Jochen" userId="49f66994-df19-43c2-b0ec-a878b65a9fce" providerId="ADAL" clId="{ED582107-875F-4F57-ACA2-E8E508F7B320}" dt="2020-11-25T14:02:06.864" v="215" actId="14100"/>
        <pc:sldMkLst>
          <pc:docMk/>
          <pc:sldMk cId="3266975545" sldId="269"/>
        </pc:sldMkLst>
        <pc:spChg chg="del">
          <ac:chgData name="Kappes, Jochen" userId="49f66994-df19-43c2-b0ec-a878b65a9fce" providerId="ADAL" clId="{ED582107-875F-4F57-ACA2-E8E508F7B320}" dt="2020-11-25T13:45:52.719" v="58"/>
          <ac:spMkLst>
            <pc:docMk/>
            <pc:sldMk cId="3266975545" sldId="269"/>
            <ac:spMk id="2" creationId="{F135DFED-DB9A-4250-AB83-4159B7961931}"/>
          </ac:spMkLst>
        </pc:spChg>
        <pc:spChg chg="add del mod">
          <ac:chgData name="Kappes, Jochen" userId="49f66994-df19-43c2-b0ec-a878b65a9fce" providerId="ADAL" clId="{ED582107-875F-4F57-ACA2-E8E508F7B320}" dt="2020-11-25T13:55:19.125" v="182"/>
          <ac:spMkLst>
            <pc:docMk/>
            <pc:sldMk cId="3266975545" sldId="269"/>
            <ac:spMk id="3" creationId="{9D0425FD-0ABD-4D20-A014-998CABD29B7D}"/>
          </ac:spMkLst>
        </pc:spChg>
        <pc:spChg chg="add mod">
          <ac:chgData name="Kappes, Jochen" userId="49f66994-df19-43c2-b0ec-a878b65a9fce" providerId="ADAL" clId="{ED582107-875F-4F57-ACA2-E8E508F7B320}" dt="2020-11-25T14:01:43.368" v="211" actId="20577"/>
          <ac:spMkLst>
            <pc:docMk/>
            <pc:sldMk cId="3266975545" sldId="269"/>
            <ac:spMk id="4" creationId="{8CC1201E-9E6D-498B-AF3A-D5DC62907669}"/>
          </ac:spMkLst>
        </pc:spChg>
        <pc:picChg chg="add mod">
          <ac:chgData name="Kappes, Jochen" userId="49f66994-df19-43c2-b0ec-a878b65a9fce" providerId="ADAL" clId="{ED582107-875F-4F57-ACA2-E8E508F7B320}" dt="2020-11-25T14:02:06.864" v="215" actId="14100"/>
          <ac:picMkLst>
            <pc:docMk/>
            <pc:sldMk cId="3266975545" sldId="269"/>
            <ac:picMk id="5" creationId="{B0522D14-8296-479F-B918-70589A7C78DB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05:30.660" v="265" actId="20577"/>
        <pc:sldMkLst>
          <pc:docMk/>
          <pc:sldMk cId="642226744" sldId="270"/>
        </pc:sldMkLst>
        <pc:spChg chg="add mod">
          <ac:chgData name="Kappes, Jochen" userId="49f66994-df19-43c2-b0ec-a878b65a9fce" providerId="ADAL" clId="{ED582107-875F-4F57-ACA2-E8E508F7B320}" dt="2020-11-25T14:05:30.660" v="265" actId="20577"/>
          <ac:spMkLst>
            <pc:docMk/>
            <pc:sldMk cId="642226744" sldId="270"/>
            <ac:spMk id="3" creationId="{FCAD9D1C-A9A2-458C-9EB7-70A622E8EB5D}"/>
          </ac:spMkLst>
        </pc:spChg>
        <pc:spChg chg="mod">
          <ac:chgData name="Kappes, Jochen" userId="49f66994-df19-43c2-b0ec-a878b65a9fce" providerId="ADAL" clId="{ED582107-875F-4F57-ACA2-E8E508F7B320}" dt="2020-11-25T14:03:59.391" v="228" actId="20577"/>
          <ac:spMkLst>
            <pc:docMk/>
            <pc:sldMk cId="642226744" sldId="270"/>
            <ac:spMk id="4" creationId="{8CC1201E-9E6D-498B-AF3A-D5DC62907669}"/>
          </ac:spMkLst>
        </pc:spChg>
        <pc:picChg chg="add mod">
          <ac:chgData name="Kappes, Jochen" userId="49f66994-df19-43c2-b0ec-a878b65a9fce" providerId="ADAL" clId="{ED582107-875F-4F57-ACA2-E8E508F7B320}" dt="2020-11-25T14:04:08.788" v="231" actId="14100"/>
          <ac:picMkLst>
            <pc:docMk/>
            <pc:sldMk cId="642226744" sldId="270"/>
            <ac:picMk id="2" creationId="{8778608A-DEE9-4CD3-A338-17685F9858F2}"/>
          </ac:picMkLst>
        </pc:picChg>
        <pc:picChg chg="del">
          <ac:chgData name="Kappes, Jochen" userId="49f66994-df19-43c2-b0ec-a878b65a9fce" providerId="ADAL" clId="{ED582107-875F-4F57-ACA2-E8E508F7B320}" dt="2020-11-25T14:04:01.823" v="229" actId="478"/>
          <ac:picMkLst>
            <pc:docMk/>
            <pc:sldMk cId="642226744" sldId="270"/>
            <ac:picMk id="5" creationId="{B0522D14-8296-479F-B918-70589A7C78DB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06:33.864" v="277" actId="20577"/>
        <pc:sldMkLst>
          <pc:docMk/>
          <pc:sldMk cId="3856094994" sldId="271"/>
        </pc:sldMkLst>
        <pc:spChg chg="del">
          <ac:chgData name="Kappes, Jochen" userId="49f66994-df19-43c2-b0ec-a878b65a9fce" providerId="ADAL" clId="{ED582107-875F-4F57-ACA2-E8E508F7B320}" dt="2020-11-25T14:06:19.522" v="268" actId="478"/>
          <ac:spMkLst>
            <pc:docMk/>
            <pc:sldMk cId="3856094994" sldId="271"/>
            <ac:spMk id="3" creationId="{FCAD9D1C-A9A2-458C-9EB7-70A622E8EB5D}"/>
          </ac:spMkLst>
        </pc:spChg>
        <pc:spChg chg="mod">
          <ac:chgData name="Kappes, Jochen" userId="49f66994-df19-43c2-b0ec-a878b65a9fce" providerId="ADAL" clId="{ED582107-875F-4F57-ACA2-E8E508F7B320}" dt="2020-11-25T14:06:33.864" v="277" actId="20577"/>
          <ac:spMkLst>
            <pc:docMk/>
            <pc:sldMk cId="3856094994" sldId="271"/>
            <ac:spMk id="4" creationId="{8CC1201E-9E6D-498B-AF3A-D5DC62907669}"/>
          </ac:spMkLst>
        </pc:spChg>
        <pc:picChg chg="del">
          <ac:chgData name="Kappes, Jochen" userId="49f66994-df19-43c2-b0ec-a878b65a9fce" providerId="ADAL" clId="{ED582107-875F-4F57-ACA2-E8E508F7B320}" dt="2020-11-25T14:06:15.085" v="267" actId="478"/>
          <ac:picMkLst>
            <pc:docMk/>
            <pc:sldMk cId="3856094994" sldId="271"/>
            <ac:picMk id="2" creationId="{8778608A-DEE9-4CD3-A338-17685F9858F2}"/>
          </ac:picMkLst>
        </pc:picChg>
        <pc:picChg chg="add mod">
          <ac:chgData name="Kappes, Jochen" userId="49f66994-df19-43c2-b0ec-a878b65a9fce" providerId="ADAL" clId="{ED582107-875F-4F57-ACA2-E8E508F7B320}" dt="2020-11-25T14:06:29.493" v="271" actId="1076"/>
          <ac:picMkLst>
            <pc:docMk/>
            <pc:sldMk cId="3856094994" sldId="271"/>
            <ac:picMk id="5" creationId="{8F395F86-7758-4397-9C2A-6A2CF39466DE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07:37.989" v="286" actId="20577"/>
        <pc:sldMkLst>
          <pc:docMk/>
          <pc:sldMk cId="2013858014" sldId="272"/>
        </pc:sldMkLst>
        <pc:spChg chg="mod">
          <ac:chgData name="Kappes, Jochen" userId="49f66994-df19-43c2-b0ec-a878b65a9fce" providerId="ADAL" clId="{ED582107-875F-4F57-ACA2-E8E508F7B320}" dt="2020-11-25T14:07:37.989" v="286" actId="20577"/>
          <ac:spMkLst>
            <pc:docMk/>
            <pc:sldMk cId="2013858014" sldId="272"/>
            <ac:spMk id="4" creationId="{8CC1201E-9E6D-498B-AF3A-D5DC62907669}"/>
          </ac:spMkLst>
        </pc:spChg>
        <pc:picChg chg="add">
          <ac:chgData name="Kappes, Jochen" userId="49f66994-df19-43c2-b0ec-a878b65a9fce" providerId="ADAL" clId="{ED582107-875F-4F57-ACA2-E8E508F7B320}" dt="2020-11-25T14:07:24.305" v="280"/>
          <ac:picMkLst>
            <pc:docMk/>
            <pc:sldMk cId="2013858014" sldId="272"/>
            <ac:picMk id="2" creationId="{53EBD41C-0DF7-416F-8185-BDBB659F8177}"/>
          </ac:picMkLst>
        </pc:picChg>
        <pc:picChg chg="del">
          <ac:chgData name="Kappes, Jochen" userId="49f66994-df19-43c2-b0ec-a878b65a9fce" providerId="ADAL" clId="{ED582107-875F-4F57-ACA2-E8E508F7B320}" dt="2020-11-25T14:07:22.580" v="279" actId="478"/>
          <ac:picMkLst>
            <pc:docMk/>
            <pc:sldMk cId="2013858014" sldId="272"/>
            <ac:picMk id="5" creationId="{B0522D14-8296-479F-B918-70589A7C78DB}"/>
          </ac:picMkLst>
        </pc:picChg>
      </pc:sldChg>
      <pc:sldChg chg="addSp delSp modSp add ord">
        <pc:chgData name="Kappes, Jochen" userId="49f66994-df19-43c2-b0ec-a878b65a9fce" providerId="ADAL" clId="{ED582107-875F-4F57-ACA2-E8E508F7B320}" dt="2020-11-25T14:17:36.751" v="313" actId="20577"/>
        <pc:sldMkLst>
          <pc:docMk/>
          <pc:sldMk cId="3259990849" sldId="273"/>
        </pc:sldMkLst>
        <pc:spChg chg="del">
          <ac:chgData name="Kappes, Jochen" userId="49f66994-df19-43c2-b0ec-a878b65a9fce" providerId="ADAL" clId="{ED582107-875F-4F57-ACA2-E8E508F7B320}" dt="2020-11-25T14:13:35.376" v="305" actId="478"/>
          <ac:spMkLst>
            <pc:docMk/>
            <pc:sldMk cId="3259990849" sldId="273"/>
            <ac:spMk id="3" creationId="{FCAD9D1C-A9A2-458C-9EB7-70A622E8EB5D}"/>
          </ac:spMkLst>
        </pc:spChg>
        <pc:spChg chg="mod">
          <ac:chgData name="Kappes, Jochen" userId="49f66994-df19-43c2-b0ec-a878b65a9fce" providerId="ADAL" clId="{ED582107-875F-4F57-ACA2-E8E508F7B320}" dt="2020-11-25T14:17:36.751" v="313" actId="20577"/>
          <ac:spMkLst>
            <pc:docMk/>
            <pc:sldMk cId="3259990849" sldId="273"/>
            <ac:spMk id="4" creationId="{8CC1201E-9E6D-498B-AF3A-D5DC62907669}"/>
          </ac:spMkLst>
        </pc:spChg>
        <pc:picChg chg="del">
          <ac:chgData name="Kappes, Jochen" userId="49f66994-df19-43c2-b0ec-a878b65a9fce" providerId="ADAL" clId="{ED582107-875F-4F57-ACA2-E8E508F7B320}" dt="2020-11-25T14:13:26.460" v="304" actId="478"/>
          <ac:picMkLst>
            <pc:docMk/>
            <pc:sldMk cId="3259990849" sldId="273"/>
            <ac:picMk id="2" creationId="{8778608A-DEE9-4CD3-A338-17685F9858F2}"/>
          </ac:picMkLst>
        </pc:picChg>
        <pc:picChg chg="add del">
          <ac:chgData name="Kappes, Jochen" userId="49f66994-df19-43c2-b0ec-a878b65a9fce" providerId="ADAL" clId="{ED582107-875F-4F57-ACA2-E8E508F7B320}" dt="2020-11-25T14:13:38.878" v="307" actId="478"/>
          <ac:picMkLst>
            <pc:docMk/>
            <pc:sldMk cId="3259990849" sldId="273"/>
            <ac:picMk id="5" creationId="{7E612E01-9AEE-4284-BFC3-14EE465114E6}"/>
          </ac:picMkLst>
        </pc:picChg>
        <pc:picChg chg="add mod">
          <ac:chgData name="Kappes, Jochen" userId="49f66994-df19-43c2-b0ec-a878b65a9fce" providerId="ADAL" clId="{ED582107-875F-4F57-ACA2-E8E508F7B320}" dt="2020-11-25T14:14:03.802" v="310" actId="1076"/>
          <ac:picMkLst>
            <pc:docMk/>
            <pc:sldMk cId="3259990849" sldId="273"/>
            <ac:picMk id="6" creationId="{3F799ED3-1A67-4CF8-BD2A-86A80FADB5F5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18:52.689" v="329" actId="14100"/>
        <pc:sldMkLst>
          <pc:docMk/>
          <pc:sldMk cId="548985755" sldId="274"/>
        </pc:sldMkLst>
        <pc:spChg chg="add del mod">
          <ac:chgData name="Kappes, Jochen" userId="49f66994-df19-43c2-b0ec-a878b65a9fce" providerId="ADAL" clId="{ED582107-875F-4F57-ACA2-E8E508F7B320}" dt="2020-11-25T14:18:40.998" v="324" actId="478"/>
          <ac:spMkLst>
            <pc:docMk/>
            <pc:sldMk cId="548985755" sldId="274"/>
            <ac:spMk id="3" creationId="{96D929F2-21B3-4A0E-9831-71CE49D4389C}"/>
          </ac:spMkLst>
        </pc:spChg>
        <pc:spChg chg="add del mod">
          <ac:chgData name="Kappes, Jochen" userId="49f66994-df19-43c2-b0ec-a878b65a9fce" providerId="ADAL" clId="{ED582107-875F-4F57-ACA2-E8E508F7B320}" dt="2020-11-25T14:18:40.998" v="324" actId="478"/>
          <ac:spMkLst>
            <pc:docMk/>
            <pc:sldMk cId="548985755" sldId="274"/>
            <ac:spMk id="4" creationId="{8CC1201E-9E6D-498B-AF3A-D5DC62907669}"/>
          </ac:spMkLst>
        </pc:spChg>
        <pc:picChg chg="add mod">
          <ac:chgData name="Kappes, Jochen" userId="49f66994-df19-43c2-b0ec-a878b65a9fce" providerId="ADAL" clId="{ED582107-875F-4F57-ACA2-E8E508F7B320}" dt="2020-11-25T14:18:52.689" v="329" actId="14100"/>
          <ac:picMkLst>
            <pc:docMk/>
            <pc:sldMk cId="548985755" sldId="274"/>
            <ac:picMk id="5" creationId="{B0356214-3A5C-4A8E-AAAC-E573DC35789F}"/>
          </ac:picMkLst>
        </pc:picChg>
        <pc:picChg chg="del">
          <ac:chgData name="Kappes, Jochen" userId="49f66994-df19-43c2-b0ec-a878b65a9fce" providerId="ADAL" clId="{ED582107-875F-4F57-ACA2-E8E508F7B320}" dt="2020-11-25T14:18:42.820" v="325" actId="478"/>
          <ac:picMkLst>
            <pc:docMk/>
            <pc:sldMk cId="548985755" sldId="274"/>
            <ac:picMk id="6" creationId="{3F799ED3-1A67-4CF8-BD2A-86A80FADB5F5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20:35.965" v="348" actId="1076"/>
        <pc:sldMkLst>
          <pc:docMk/>
          <pc:sldMk cId="3908055811" sldId="275"/>
        </pc:sldMkLst>
        <pc:spChg chg="mod">
          <ac:chgData name="Kappes, Jochen" userId="49f66994-df19-43c2-b0ec-a878b65a9fce" providerId="ADAL" clId="{ED582107-875F-4F57-ACA2-E8E508F7B320}" dt="2020-11-25T14:20:01.964" v="345" actId="20577"/>
          <ac:spMkLst>
            <pc:docMk/>
            <pc:sldMk cId="3908055811" sldId="275"/>
            <ac:spMk id="4" creationId="{8CC1201E-9E6D-498B-AF3A-D5DC62907669}"/>
          </ac:spMkLst>
        </pc:spChg>
        <pc:picChg chg="add mod">
          <ac:chgData name="Kappes, Jochen" userId="49f66994-df19-43c2-b0ec-a878b65a9fce" providerId="ADAL" clId="{ED582107-875F-4F57-ACA2-E8E508F7B320}" dt="2020-11-25T14:19:54.190" v="336" actId="1076"/>
          <ac:picMkLst>
            <pc:docMk/>
            <pc:sldMk cId="3908055811" sldId="275"/>
            <ac:picMk id="2" creationId="{836D8098-C992-47E8-BC02-3A2824B2B94A}"/>
          </ac:picMkLst>
        </pc:picChg>
        <pc:picChg chg="add mod">
          <ac:chgData name="Kappes, Jochen" userId="49f66994-df19-43c2-b0ec-a878b65a9fce" providerId="ADAL" clId="{ED582107-875F-4F57-ACA2-E8E508F7B320}" dt="2020-11-25T14:20:35.965" v="348" actId="1076"/>
          <ac:picMkLst>
            <pc:docMk/>
            <pc:sldMk cId="3908055811" sldId="275"/>
            <ac:picMk id="3" creationId="{7EB36D09-8D73-4004-8B06-93839AF01647}"/>
          </ac:picMkLst>
        </pc:picChg>
        <pc:picChg chg="del">
          <ac:chgData name="Kappes, Jochen" userId="49f66994-df19-43c2-b0ec-a878b65a9fce" providerId="ADAL" clId="{ED582107-875F-4F57-ACA2-E8E508F7B320}" dt="2020-11-25T14:19:47.235" v="333" actId="478"/>
          <ac:picMkLst>
            <pc:docMk/>
            <pc:sldMk cId="3908055811" sldId="275"/>
            <ac:picMk id="5" creationId="{B0356214-3A5C-4A8E-AAAC-E573DC35789F}"/>
          </ac:picMkLst>
        </pc:picChg>
      </pc:sldChg>
      <pc:sldChg chg="addSp delSp modSp add">
        <pc:chgData name="Kappes, Jochen" userId="49f66994-df19-43c2-b0ec-a878b65a9fce" providerId="ADAL" clId="{ED582107-875F-4F57-ACA2-E8E508F7B320}" dt="2020-11-25T14:26:48.014" v="454" actId="20577"/>
        <pc:sldMkLst>
          <pc:docMk/>
          <pc:sldMk cId="1079963459" sldId="276"/>
        </pc:sldMkLst>
        <pc:spChg chg="mod">
          <ac:chgData name="Kappes, Jochen" userId="49f66994-df19-43c2-b0ec-a878b65a9fce" providerId="ADAL" clId="{ED582107-875F-4F57-ACA2-E8E508F7B320}" dt="2020-11-25T14:21:54.945" v="369" actId="20577"/>
          <ac:spMkLst>
            <pc:docMk/>
            <pc:sldMk cId="1079963459" sldId="276"/>
            <ac:spMk id="4" creationId="{8CC1201E-9E6D-498B-AF3A-D5DC62907669}"/>
          </ac:spMkLst>
        </pc:spChg>
        <pc:spChg chg="add mod">
          <ac:chgData name="Kappes, Jochen" userId="49f66994-df19-43c2-b0ec-a878b65a9fce" providerId="ADAL" clId="{ED582107-875F-4F57-ACA2-E8E508F7B320}" dt="2020-11-25T14:26:48.014" v="454" actId="20577"/>
          <ac:spMkLst>
            <pc:docMk/>
            <pc:sldMk cId="1079963459" sldId="276"/>
            <ac:spMk id="6" creationId="{6FF4E3FC-6DC8-4546-9459-ED154AF4C7CC}"/>
          </ac:spMkLst>
        </pc:spChg>
        <pc:picChg chg="del">
          <ac:chgData name="Kappes, Jochen" userId="49f66994-df19-43c2-b0ec-a878b65a9fce" providerId="ADAL" clId="{ED582107-875F-4F57-ACA2-E8E508F7B320}" dt="2020-11-25T14:21:58.072" v="370" actId="478"/>
          <ac:picMkLst>
            <pc:docMk/>
            <pc:sldMk cId="1079963459" sldId="276"/>
            <ac:picMk id="2" creationId="{836D8098-C992-47E8-BC02-3A2824B2B94A}"/>
          </ac:picMkLst>
        </pc:picChg>
        <pc:picChg chg="del">
          <ac:chgData name="Kappes, Jochen" userId="49f66994-df19-43c2-b0ec-a878b65a9fce" providerId="ADAL" clId="{ED582107-875F-4F57-ACA2-E8E508F7B320}" dt="2020-11-25T14:21:58.948" v="371" actId="478"/>
          <ac:picMkLst>
            <pc:docMk/>
            <pc:sldMk cId="1079963459" sldId="276"/>
            <ac:picMk id="3" creationId="{7EB36D09-8D73-4004-8B06-93839AF01647}"/>
          </ac:picMkLst>
        </pc:picChg>
        <pc:picChg chg="add mod">
          <ac:chgData name="Kappes, Jochen" userId="49f66994-df19-43c2-b0ec-a878b65a9fce" providerId="ADAL" clId="{ED582107-875F-4F57-ACA2-E8E508F7B320}" dt="2020-11-25T14:25:43.890" v="409" actId="1076"/>
          <ac:picMkLst>
            <pc:docMk/>
            <pc:sldMk cId="1079963459" sldId="276"/>
            <ac:picMk id="5" creationId="{AA7C79F0-EFEF-406C-9AAF-0F74F72450B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82600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8262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947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74738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82600" y="241300"/>
            <a:ext cx="265113" cy="323850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254625" y="379413"/>
            <a:ext cx="1119188" cy="85725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5" userDrawn="1">
          <p15:clr>
            <a:srgbClr val="F26B43"/>
          </p15:clr>
        </p15:guide>
        <p15:guide id="2" pos="401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‹Nr.›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704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30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noProof="0" dirty="0"/>
              <a:t>next Ultra </a:t>
            </a:r>
            <a:br>
              <a:rPr lang="en-US" noProof="0" dirty="0"/>
            </a:br>
            <a:r>
              <a:rPr lang="en-US" noProof="0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052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30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4000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394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next 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893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729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0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336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064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06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638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1">
              <a:buNone/>
            </a:pPr>
            <a:endParaRPr lang="en-US" sz="1800" dirty="0"/>
          </a:p>
        </p:txBody>
      </p: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8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729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861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949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next ULTRA </a:t>
            </a:r>
            <a:br>
              <a:rPr lang="en-US" sz="4800" dirty="0"/>
            </a:br>
            <a:r>
              <a:rPr lang="en-US" sz="4800" dirty="0"/>
              <a:t>40 (48) 60 </a:t>
            </a:r>
            <a:r>
              <a:rPr lang="en-US" sz="4800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2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26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6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40)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ext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908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402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740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2111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6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122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3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104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0597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091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4756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65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242299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 err="1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– Strictly confidential, Confidential, Internal –     Author/Presentation Topic</a:t>
            </a:r>
          </a:p>
        </p:txBody>
      </p:sp>
      <p:pic>
        <p:nvPicPr>
          <p:cNvPr id="10" name="Grafik 9" descr="T_Logo_3c_Slogan_p_INT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86" r:id="rId9"/>
    <p:sldLayoutId id="2147483987" r:id="rId10"/>
    <p:sldLayoutId id="2147483988" r:id="rId11"/>
    <p:sldLayoutId id="2147483989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3898" r:id="rId22"/>
    <p:sldLayoutId id="2147483711" r:id="rId23"/>
    <p:sldLayoutId id="2147483930" r:id="rId24"/>
    <p:sldLayoutId id="2147483959" r:id="rId25"/>
    <p:sldLayoutId id="2147483960" r:id="rId26"/>
  </p:sldLayoutIdLst>
  <p:hf hdr="0" ft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TeleGrotesk Next Ultra" pitchFamily="2" charset="0"/>
          <a:ea typeface="+mj-ea"/>
          <a:cs typeface="TeleGrotesk Next Ultra" pitchFamily="2" charset="0"/>
          <a:sym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  <a:sym typeface="Blackadder ITC" panose="04020505051007020D02" pitchFamily="82" charset="0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260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rPr>
              <a:t>Java </a:t>
            </a:r>
            <a:r>
              <a:rPr lang="en-US" dirty="0" err="1"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rPr>
              <a:t>Selbstlerngruppe</a:t>
            </a:r>
            <a:br>
              <a:rPr lang="en-US" dirty="0"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rPr>
            </a:br>
            <a:r>
              <a:rPr lang="en-US" dirty="0" err="1"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rPr>
              <a:t>Arraylist</a:t>
            </a:r>
            <a:endParaRPr lang="en-US" dirty="0">
              <a:latin typeface="TeleGrotesk Next Ultra" pitchFamily="2" charset="0"/>
              <a:cs typeface="TeleGrotesk Next Ultra" pitchFamily="2" charset="0"/>
              <a:sym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00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tzte Aufgabe: Smartphone erstell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A7C79F0-EFEF-406C-9AAF-0F74F72450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967523"/>
            <a:ext cx="7401860" cy="4545127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FF4E3FC-6DC8-4546-9459-ED154AF4C7CC}"/>
              </a:ext>
            </a:extLst>
          </p:cNvPr>
          <p:cNvSpPr txBox="1"/>
          <p:nvPr/>
        </p:nvSpPr>
        <p:spPr bwMode="gray">
          <a:xfrm>
            <a:off x="8503138" y="967522"/>
            <a:ext cx="2305538" cy="1966179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Fertiger Quellcode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/>
              <a:t>=&gt; Nach der Übung</a:t>
            </a:r>
          </a:p>
        </p:txBody>
      </p:sp>
    </p:spTree>
    <p:extLst>
      <p:ext uri="{BB962C8B-B14F-4D97-AF65-F5344CB8AC3E}">
        <p14:creationId xmlns:p14="http://schemas.microsoft.com/office/powerpoint/2010/main" val="1079963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79ECEE0-263E-4670-92A9-2248015D67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1584000"/>
            <a:ext cx="10874374" cy="923330"/>
          </a:xfrm>
        </p:spPr>
        <p:txBody>
          <a:bodyPr/>
          <a:lstStyle/>
          <a:p>
            <a:r>
              <a:rPr lang="de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11150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AFD0CAC-E23E-44B3-9EBC-A3D81FDC60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491" y="417524"/>
            <a:ext cx="8091324" cy="531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8728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DAE4525-1CB4-473D-915B-C22105CA7B4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3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E338C2-8625-4B76-BC26-28B9597CCE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692" y="324415"/>
            <a:ext cx="9802689" cy="5173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4084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08D158-1C0B-4775-94F4-1F7E2A8304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4</a:t>
            </a:fld>
            <a:endParaRPr lang="en-US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863262E-D7C5-4BEF-AB4F-6F24913C28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9292" y="131133"/>
            <a:ext cx="8059640" cy="5700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547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0E272B-A9AD-4DD7-9F8A-EBE26B7C523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5</a:t>
            </a:fld>
            <a:endParaRPr lang="en-US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8E5BE99-E447-4E9E-80E0-AC46B5915D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442" y="642312"/>
            <a:ext cx="5442594" cy="461866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5E1087C-4F51-4C56-9606-1616E2557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1036" y="642312"/>
            <a:ext cx="5322241" cy="461866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1A684DC-199E-4091-99AE-3ECC04C4AB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7927" y="4805408"/>
            <a:ext cx="2698720" cy="801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1055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4043A0-BED6-480E-9057-FB159B1CCA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6</a:t>
            </a:fld>
            <a:endParaRPr lang="en-US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1F832AB-EA81-4482-B66A-B3024E6669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9559" y="330401"/>
            <a:ext cx="6080471" cy="5550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19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203A40-378E-4478-B8B4-65EF67652FA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7</a:t>
            </a:fld>
            <a:endParaRPr lang="en-US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878E1FA-34A8-4BD0-B0CE-F5F06B5959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2296" y="1330058"/>
            <a:ext cx="4877481" cy="382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737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1333AB-4638-4B05-9A7C-0B2E19912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1584000"/>
            <a:ext cx="10874374" cy="923330"/>
          </a:xfrm>
        </p:spPr>
        <p:txBody>
          <a:bodyPr/>
          <a:lstStyle/>
          <a:p>
            <a:r>
              <a:rPr lang="de-DE" dirty="0"/>
              <a:t>Aufgab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23DA459-FA0F-4517-9D2A-1AE97B4241E1}"/>
              </a:ext>
            </a:extLst>
          </p:cNvPr>
          <p:cNvSpPr txBox="1"/>
          <p:nvPr/>
        </p:nvSpPr>
        <p:spPr bwMode="gray">
          <a:xfrm>
            <a:off x="261328" y="2860431"/>
            <a:ext cx="7593134" cy="151618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Erstelle eine App Smartphone mit Kontaktliste</a:t>
            </a:r>
            <a:br>
              <a:rPr lang="de-DE" sz="1800" b="1" dirty="0">
                <a:solidFill>
                  <a:schemeClr val="bg1"/>
                </a:solidFill>
              </a:rPr>
            </a:br>
            <a:r>
              <a:rPr lang="de-DE" sz="1800" b="1" dirty="0">
                <a:solidFill>
                  <a:schemeClr val="bg1"/>
                </a:solidFill>
              </a:rPr>
              <a:t>Kontakte sollen sich</a:t>
            </a:r>
          </a:p>
          <a:p>
            <a:pPr marL="285750" indent="-285750">
              <a:buFontTx/>
              <a:buChar char="-"/>
            </a:pPr>
            <a:r>
              <a:rPr lang="de-DE" sz="1800" b="1" dirty="0">
                <a:solidFill>
                  <a:schemeClr val="bg1"/>
                </a:solidFill>
              </a:rPr>
              <a:t>Hinzufügen</a:t>
            </a:r>
          </a:p>
          <a:p>
            <a:pPr marL="285750" indent="-285750">
              <a:buFontTx/>
              <a:buChar char="-"/>
            </a:pPr>
            <a:r>
              <a:rPr lang="de-DE" sz="1800" b="1" dirty="0">
                <a:solidFill>
                  <a:schemeClr val="bg1"/>
                </a:solidFill>
              </a:rPr>
              <a:t>Finden</a:t>
            </a:r>
          </a:p>
          <a:p>
            <a:r>
              <a:rPr lang="de-DE" sz="1800" b="1" dirty="0">
                <a:solidFill>
                  <a:schemeClr val="bg1"/>
                </a:solidFill>
              </a:rPr>
              <a:t>lassen</a:t>
            </a:r>
          </a:p>
        </p:txBody>
      </p:sp>
    </p:spTree>
    <p:extLst>
      <p:ext uri="{BB962C8B-B14F-4D97-AF65-F5344CB8AC3E}">
        <p14:creationId xmlns:p14="http://schemas.microsoft.com/office/powerpoint/2010/main" val="588624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 1: Klasse Kontak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0522D14-8296-479F-B918-70589A7C78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9546" y="855165"/>
            <a:ext cx="6369052" cy="505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75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pps Aufgabe 1: Klasse Kontak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3EBD41C-0DF7-416F-8185-BDBB659F81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7374" y="1758743"/>
            <a:ext cx="6087325" cy="296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58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 2: Klasse Smartpho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778608A-DEE9-4CD3-A338-17685F9858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1559" y="836694"/>
            <a:ext cx="6663950" cy="4951685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CAD9D1C-A9A2-458C-9EB7-70A622E8EB5D}"/>
              </a:ext>
            </a:extLst>
          </p:cNvPr>
          <p:cNvSpPr txBox="1"/>
          <p:nvPr/>
        </p:nvSpPr>
        <p:spPr bwMode="gray">
          <a:xfrm>
            <a:off x="2688492" y="3868616"/>
            <a:ext cx="2547816" cy="25009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dirty="0"/>
              <a:t>Hinweis: Mit generischem Typ</a:t>
            </a:r>
          </a:p>
        </p:txBody>
      </p:sp>
    </p:spTree>
    <p:extLst>
      <p:ext uri="{BB962C8B-B14F-4D97-AF65-F5344CB8AC3E}">
        <p14:creationId xmlns:p14="http://schemas.microsoft.com/office/powerpoint/2010/main" val="6422267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pps Aufgabe 2: Klasse Smartpho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F395F86-7758-4397-9C2A-6A2CF3946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8175" y="1120104"/>
            <a:ext cx="6855302" cy="466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094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 3: </a:t>
            </a:r>
            <a:r>
              <a:rPr lang="de-DE" dirty="0" err="1"/>
              <a:t>addkontakt</a:t>
            </a:r>
            <a:r>
              <a:rPr lang="de-DE" dirty="0"/>
              <a:t> für Klasse Smartpho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799ED3-1A67-4CF8-BD2A-86A80FADB5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8069" y="1099592"/>
            <a:ext cx="5067901" cy="470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9908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 4: </a:t>
            </a:r>
            <a:r>
              <a:rPr lang="de-DE" dirty="0" err="1"/>
              <a:t>findkontakt</a:t>
            </a:r>
            <a:r>
              <a:rPr lang="de-DE" dirty="0"/>
              <a:t> für Klasse Smartpho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0356214-3A5C-4A8E-AAAC-E573DC3578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4564" y="820615"/>
            <a:ext cx="4620973" cy="4996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85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CC1201E-9E6D-498B-AF3A-D5DC6290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 5: </a:t>
            </a:r>
            <a:r>
              <a:rPr lang="de-DE" dirty="0" err="1"/>
              <a:t>ausgabe</a:t>
            </a:r>
            <a:r>
              <a:rPr lang="de-DE" dirty="0"/>
              <a:t>() für Klasse Smartpho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36D8098-C992-47E8-BC02-3A2824B2B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1094154"/>
            <a:ext cx="5567714" cy="440348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EB36D09-8D73-4004-8B06-93839AF01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6840" y="1278252"/>
            <a:ext cx="4496206" cy="178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558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4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HR_16x9_May_2018.potx" id="{C7665C40-6D48-4B43-B799-E5E80B2DB342}" vid="{B0F425BF-7E78-4EC3-88D0-188C03CDCB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0F5146922EBFF4E89745235317654A4" ma:contentTypeVersion="7" ma:contentTypeDescription="Ein neues Dokument erstellen." ma:contentTypeScope="" ma:versionID="cd09a7eb64ebc46b337c6799bb662235">
  <xsd:schema xmlns:xsd="http://www.w3.org/2001/XMLSchema" xmlns:xs="http://www.w3.org/2001/XMLSchema" xmlns:p="http://schemas.microsoft.com/office/2006/metadata/properties" xmlns:ns3="4d828b48-b1c4-4622-aff4-c41f2642b6e4" xmlns:ns4="12a1d171-42c9-4543-9ae0-1eb64d0b6128" targetNamespace="http://schemas.microsoft.com/office/2006/metadata/properties" ma:root="true" ma:fieldsID="a38eb29cf440ab44bb014c794c9a0e4a" ns3:_="" ns4:_="">
    <xsd:import namespace="4d828b48-b1c4-4622-aff4-c41f2642b6e4"/>
    <xsd:import namespace="12a1d171-42c9-4543-9ae0-1eb64d0b612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828b48-b1c4-4622-aff4-c41f2642b6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d171-42c9-4543-9ae0-1eb64d0b612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Freigabehinweis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CE19BDB-8DA1-4EAE-8299-EA8D8307CE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828b48-b1c4-4622-aff4-c41f2642b6e4"/>
    <ds:schemaRef ds:uri="12a1d171-42c9-4543-9ae0-1eb64d0b61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619F858-550C-4152-A436-6706EE135E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5B0C15-5557-4ED2-A044-8D5D08785A7E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5</Words>
  <Application>Microsoft Office PowerPoint</Application>
  <PresentationFormat>Benutzerdefiniert</PresentationFormat>
  <Paragraphs>26</Paragraphs>
  <Slides>1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5" baseType="lpstr">
      <vt:lpstr>Arial</vt:lpstr>
      <vt:lpstr>TeleGrotesk Next</vt:lpstr>
      <vt:lpstr>TeleGrotesk Next Ultra</vt:lpstr>
      <vt:lpstr>Tele-GroteskUlt</vt:lpstr>
      <vt:lpstr>Wingdings</vt:lpstr>
      <vt:lpstr>Wingdings 2</vt:lpstr>
      <vt:lpstr>Telekom 16:9 2016 EN</vt:lpstr>
      <vt:lpstr>think-cell Folie</vt:lpstr>
      <vt:lpstr>Java Selbstlerngruppe Arraylist</vt:lpstr>
      <vt:lpstr>Aufgabe</vt:lpstr>
      <vt:lpstr>Aufgabe 1: Klasse Kontakt</vt:lpstr>
      <vt:lpstr>Tipps Aufgabe 1: Klasse Kontakt</vt:lpstr>
      <vt:lpstr>Aufgabe 2: Klasse Smartphone</vt:lpstr>
      <vt:lpstr>Tipps Aufgabe 2: Klasse Smartphone</vt:lpstr>
      <vt:lpstr>Aufgabe 3: addkontakt für Klasse Smartphone</vt:lpstr>
      <vt:lpstr>Aufgabe 4: findkontakt für Klasse Smartphone</vt:lpstr>
      <vt:lpstr>Aufgabe 5: ausgabe() für Klasse Smartphone</vt:lpstr>
      <vt:lpstr>Letzte Aufgabe: Smartphone erstellen</vt:lpstr>
      <vt:lpstr>Backup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 PowerPoint Master</dc:title>
  <dc:creator>Kappes, Jochen</dc:creator>
  <cp:lastModifiedBy>Kappes, Jochen</cp:lastModifiedBy>
  <cp:revision>1</cp:revision>
  <dcterms:created xsi:type="dcterms:W3CDTF">2020-11-25T13:07:49Z</dcterms:created>
  <dcterms:modified xsi:type="dcterms:W3CDTF">2020-11-25T14:2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F5146922EBFF4E89745235317654A4</vt:lpwstr>
  </property>
</Properties>
</file>